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66" d="100"/>
          <a:sy n="66" d="100"/>
        </p:scale>
        <p:origin x="668" y="32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04/01/2023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04/01/2023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Gonuguntla.ajay@capgemini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800824" y="2995612"/>
            <a:ext cx="4008437" cy="3862388"/>
          </a:xfrm>
        </p:spPr>
        <p:txBody>
          <a:bodyPr/>
          <a:lstStyle/>
          <a:p>
            <a:pPr marL="342900" lvl="0" indent="-342900">
              <a:buSzPts val="1000"/>
              <a:buFont typeface="Arial MT"/>
              <a:buChar char="•"/>
              <a:tabLst>
                <a:tab pos="236220" algn="l"/>
                <a:tab pos="236855" algn="l"/>
              </a:tabLst>
            </a:pPr>
            <a:r>
              <a:rPr lang="en-US" sz="1200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MART</a:t>
            </a:r>
            <a:r>
              <a:rPr lang="en-US" sz="1200" b="1" spc="-2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I</a:t>
            </a:r>
            <a:r>
              <a:rPr lang="en-US" sz="1200" b="1" spc="-3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UILDER</a:t>
            </a:r>
            <a:r>
              <a:rPr lang="en-US" sz="1200" b="1" spc="-1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AT</a:t>
            </a:r>
            <a:r>
              <a:rPr lang="en-US" sz="1200" b="1" spc="-3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OT</a:t>
            </a:r>
            <a:r>
              <a:rPr lang="en-US" sz="1200" b="1" spc="-3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pplication</a:t>
            </a:r>
          </a:p>
          <a:p>
            <a:pPr marL="342900" indent="-342900">
              <a:buSzPts val="1000"/>
              <a:buFont typeface="Arial MT"/>
              <a:buChar char="•"/>
              <a:tabLst>
                <a:tab pos="236220" algn="l"/>
                <a:tab pos="236855" algn="l"/>
              </a:tabLst>
            </a:pPr>
            <a:r>
              <a:rPr lang="en-US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leted assigned task case study of Smart UI Builder Chat Bot Application along with JWT authentication, responsive UI,</a:t>
            </a:r>
            <a:r>
              <a:rPr lang="en-US" spc="-34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SS,</a:t>
            </a:r>
            <a:r>
              <a:rPr lang="en-US" spc="-1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ootstrap</a:t>
            </a:r>
            <a:r>
              <a:rPr lang="en-US" spc="4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mplate</a:t>
            </a:r>
            <a:r>
              <a:rPr lang="en-US" spc="-1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d</a:t>
            </a:r>
            <a:r>
              <a:rPr lang="en-US" spc="-1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gular</a:t>
            </a:r>
            <a:r>
              <a:rPr lang="en-US" spc="-2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ed</a:t>
            </a:r>
            <a:r>
              <a:rPr lang="en-US" spc="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</a:t>
            </a:r>
            <a:r>
              <a:rPr lang="en-US" spc="-1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er</a:t>
            </a:r>
            <a:r>
              <a:rPr lang="en-US" spc="1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erface.</a:t>
            </a:r>
            <a:endParaRPr lang="en-IN" dirty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>
              <a:buSzPts val="1000"/>
              <a:buFont typeface="Arial MT"/>
              <a:buChar char="•"/>
              <a:tabLst>
                <a:tab pos="236220" algn="l"/>
                <a:tab pos="236855" algn="l"/>
              </a:tabLst>
            </a:pPr>
            <a:r>
              <a:rPr lang="en-US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MS</a:t>
            </a:r>
            <a:r>
              <a:rPr lang="en-US" b="1" spc="-4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pplication:</a:t>
            </a:r>
            <a:endParaRPr lang="en-IN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>
              <a:buSzPts val="1000"/>
              <a:buFont typeface="Arial MT"/>
              <a:buChar char="•"/>
              <a:tabLst>
                <a:tab pos="236220" algn="l"/>
                <a:tab pos="236855" algn="l"/>
              </a:tabLst>
            </a:pPr>
            <a:r>
              <a:rPr lang="en-US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leted end to end case study of </a:t>
            </a:r>
            <a:r>
              <a:rPr lang="en-US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ent Management</a:t>
            </a:r>
            <a:r>
              <a:rPr lang="en-US" b="1" spc="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ystem Application </a:t>
            </a:r>
            <a:r>
              <a:rPr lang="en-US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uring training period by using Angular,</a:t>
            </a:r>
            <a:r>
              <a:rPr lang="en-US" spc="-34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deJS,</a:t>
            </a:r>
            <a:r>
              <a:rPr lang="en-US" spc="2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press,</a:t>
            </a:r>
            <a:r>
              <a:rPr lang="en-US" spc="3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ngo</a:t>
            </a:r>
            <a:r>
              <a:rPr lang="en-US" spc="2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base</a:t>
            </a:r>
            <a:r>
              <a:rPr lang="en-US" spc="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tc.</a:t>
            </a:r>
          </a:p>
          <a:p>
            <a:pPr marL="342900" indent="-342900">
              <a:buSzPts val="1000"/>
              <a:buFont typeface="Arial MT"/>
              <a:buChar char="•"/>
              <a:tabLst>
                <a:tab pos="236220" algn="l"/>
                <a:tab pos="236855" algn="l"/>
              </a:tabLst>
            </a:pPr>
            <a:r>
              <a:rPr lang="en-US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rtification’s</a:t>
            </a:r>
          </a:p>
          <a:p>
            <a:pPr marL="342900" indent="-342900">
              <a:buSzPts val="1000"/>
              <a:buFont typeface="Arial MT"/>
              <a:buChar char="•"/>
              <a:tabLst>
                <a:tab pos="236220" algn="l"/>
                <a:tab pos="236855" algn="l"/>
              </a:tabLst>
            </a:pPr>
            <a:r>
              <a:rPr lang="en-US" dirty="0">
                <a:effectLst/>
                <a:latin typeface="Verdana" panose="020B0604030504040204" pitchFamily="34" charset="0"/>
                <a:ea typeface="Arial MT"/>
                <a:cs typeface="Arial MT"/>
              </a:rPr>
              <a:t>Agile</a:t>
            </a:r>
            <a:r>
              <a:rPr lang="en-US" spc="-50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Arial MT"/>
                <a:cs typeface="Arial MT"/>
              </a:rPr>
              <a:t>Software Development</a:t>
            </a:r>
          </a:p>
          <a:p>
            <a:pPr marL="342900" indent="-342900">
              <a:buSzPts val="1000"/>
              <a:buFont typeface="Arial MT"/>
              <a:buChar char="•"/>
              <a:tabLst>
                <a:tab pos="236220" algn="l"/>
                <a:tab pos="236855" algn="l"/>
              </a:tabLst>
            </a:pPr>
            <a:r>
              <a:rPr lang="en-US" dirty="0">
                <a:effectLst/>
                <a:latin typeface="Verdana" panose="020B0604030504040204" pitchFamily="34" charset="0"/>
                <a:ea typeface="Arial MT"/>
                <a:cs typeface="Arial MT"/>
              </a:rPr>
              <a:t>AWS Cloud</a:t>
            </a:r>
            <a:r>
              <a:rPr lang="en-US" spc="-5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Arial MT"/>
                <a:cs typeface="Arial MT"/>
              </a:rPr>
              <a:t>Practitioner</a:t>
            </a:r>
            <a:endParaRPr lang="en-IN" dirty="0">
              <a:effectLst/>
              <a:latin typeface="Verdana" panose="020B0604030504040204" pitchFamily="34" charset="0"/>
              <a:ea typeface="Arial MT"/>
              <a:cs typeface="Arial MT"/>
            </a:endParaRPr>
          </a:p>
          <a:p>
            <a:pPr marL="342900" indent="-342900">
              <a:buSzPts val="1000"/>
              <a:buFont typeface="Arial MT"/>
              <a:buChar char="•"/>
              <a:tabLst>
                <a:tab pos="236220" algn="l"/>
                <a:tab pos="236855" algn="l"/>
              </a:tabLst>
            </a:pPr>
            <a:endParaRPr lang="en-IN" dirty="0">
              <a:effectLst/>
              <a:latin typeface="Verdana" panose="020B0604030504040204" pitchFamily="34" charset="0"/>
              <a:ea typeface="Arial MT"/>
              <a:cs typeface="Arial MT"/>
            </a:endParaRPr>
          </a:p>
          <a:p>
            <a:pPr marL="342900" indent="-342900">
              <a:buSzPts val="1000"/>
              <a:buFont typeface="Arial MT"/>
              <a:buChar char="•"/>
              <a:tabLst>
                <a:tab pos="236220" algn="l"/>
                <a:tab pos="236855" algn="l"/>
              </a:tabLst>
            </a:pPr>
            <a:endParaRPr lang="en-US" b="1" dirty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>
              <a:buSzPts val="1000"/>
              <a:buFont typeface="Arial MT"/>
              <a:buChar char="•"/>
              <a:tabLst>
                <a:tab pos="236220" algn="l"/>
                <a:tab pos="236855" algn="l"/>
              </a:tabLst>
            </a:pPr>
            <a:endParaRPr lang="en-IN" b="1" dirty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>
              <a:buSzPts val="1000"/>
              <a:buFont typeface="Arial MT"/>
              <a:buChar char="•"/>
              <a:tabLst>
                <a:tab pos="236220" algn="l"/>
                <a:tab pos="236855" algn="l"/>
              </a:tabLst>
            </a:pPr>
            <a:endParaRPr lang="en-IN" dirty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>
              <a:buSzPts val="1000"/>
              <a:buFont typeface="Arial MT"/>
              <a:buChar char="•"/>
              <a:tabLst>
                <a:tab pos="236220" algn="l"/>
                <a:tab pos="236855" algn="l"/>
              </a:tabLst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65163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12406" y="1355725"/>
            <a:ext cx="2374900" cy="295275"/>
          </a:xfrm>
        </p:spPr>
        <p:txBody>
          <a:bodyPr/>
          <a:lstStyle/>
          <a:p>
            <a:pPr eaLnBrk="1" hangingPunct="1"/>
            <a:r>
              <a:rPr lang="nl-NL" altLang="nl-NL" dirty="0"/>
              <a:t>Hyderabad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194627" y="1573212"/>
            <a:ext cx="3477437" cy="127000"/>
          </a:xfrm>
        </p:spPr>
        <p:txBody>
          <a:bodyPr/>
          <a:lstStyle/>
          <a:p>
            <a:pPr eaLnBrk="1" hangingPunct="1"/>
            <a:r>
              <a:rPr lang="nl-NL" altLang="nl-NL" dirty="0">
                <a:hlinkClick r:id="rId3"/>
              </a:rPr>
              <a:t>Gonuguntla.ajay-kumar@capgemini.com</a:t>
            </a:r>
            <a:r>
              <a:rPr lang="nl-NL" altLang="nl-NL" dirty="0"/>
              <a:t> 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65990" y="1844675"/>
            <a:ext cx="2382837" cy="330200"/>
          </a:xfrm>
        </p:spPr>
        <p:txBody>
          <a:bodyPr/>
          <a:lstStyle/>
          <a:p>
            <a:pPr eaLnBrk="1" hangingPunct="1"/>
            <a:r>
              <a:rPr lang="nl-NL" altLang="nl-NL" dirty="0"/>
              <a:t>+91 9440919073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83259" y="2995612"/>
            <a:ext cx="4057650" cy="3621087"/>
          </a:xfrm>
        </p:spPr>
        <p:txBody>
          <a:bodyPr/>
          <a:lstStyle/>
          <a:p>
            <a:pPr lvl="0">
              <a:buSzPts val="1000"/>
              <a:tabLst>
                <a:tab pos="236220" algn="l"/>
                <a:tab pos="236855" algn="l"/>
              </a:tabLst>
            </a:pPr>
            <a:r>
              <a:rPr lang="en-US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     Hands</a:t>
            </a:r>
            <a:r>
              <a:rPr lang="en-US" spc="-5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Arial MT"/>
                <a:cs typeface="Arial MT"/>
              </a:rPr>
              <a:t>on</a:t>
            </a:r>
            <a:r>
              <a:rPr lang="en-US" spc="-5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Arial MT"/>
                <a:cs typeface="Arial MT"/>
              </a:rPr>
              <a:t>experience</a:t>
            </a:r>
            <a:r>
              <a:rPr lang="en-US" spc="15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Arial MT"/>
                <a:cs typeface="Arial MT"/>
              </a:rPr>
              <a:t>in</a:t>
            </a:r>
            <a:r>
              <a:rPr lang="en-US" spc="-15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Arial MT"/>
                <a:cs typeface="Arial MT"/>
              </a:rPr>
              <a:t>developing</a:t>
            </a:r>
            <a:r>
              <a:rPr lang="en-US" spc="-10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Arial MT"/>
                <a:cs typeface="Arial MT"/>
              </a:rPr>
              <a:t>web</a:t>
            </a:r>
            <a:r>
              <a:rPr lang="en-US" spc="-15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Arial MT"/>
                <a:cs typeface="Arial MT"/>
              </a:rPr>
              <a:t>pages</a:t>
            </a:r>
            <a:endParaRPr lang="en-IN" dirty="0">
              <a:effectLst/>
              <a:latin typeface="Verdana" panose="020B0604030504040204" pitchFamily="34" charset="0"/>
              <a:ea typeface="Arial MT"/>
              <a:cs typeface="Arial MT"/>
            </a:endParaRPr>
          </a:p>
          <a:p>
            <a:pPr marL="236220">
              <a:spcBef>
                <a:spcPts val="150"/>
              </a:spcBef>
            </a:pPr>
            <a:r>
              <a:rPr lang="en-US" b="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ing</a:t>
            </a:r>
            <a:r>
              <a:rPr lang="en-US" b="0" spc="-2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TML5,</a:t>
            </a:r>
            <a:r>
              <a:rPr lang="en-US" b="1" spc="-1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SS3,</a:t>
            </a:r>
            <a:r>
              <a:rPr lang="en-US" b="1" spc="-1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bject</a:t>
            </a:r>
            <a:r>
              <a:rPr lang="en-US" b="1" spc="-3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riented</a:t>
            </a:r>
            <a:r>
              <a:rPr lang="en-US" b="1" spc="-1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ava</a:t>
            </a:r>
            <a:r>
              <a:rPr lang="en-US" b="1" spc="-3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cript,</a:t>
            </a:r>
            <a:r>
              <a:rPr lang="en-US" b="1" spc="-2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6,</a:t>
            </a:r>
            <a:endParaRPr lang="en-IN" b="1" dirty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36220">
              <a:spcBef>
                <a:spcPts val="160"/>
              </a:spcBef>
              <a:spcAft>
                <a:spcPts val="0"/>
              </a:spcAft>
            </a:pPr>
            <a:r>
              <a:rPr lang="en-US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Query,</a:t>
            </a:r>
            <a:r>
              <a:rPr lang="en-US" b="1" spc="-3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SON</a:t>
            </a:r>
            <a:r>
              <a:rPr lang="en-US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lang="en-IN" dirty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5"/>
              </a:spcBef>
            </a:pPr>
            <a:r>
              <a:rPr lang="en-US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 </a:t>
            </a:r>
            <a:endParaRPr lang="en-IN" dirty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lvl="0" indent="-342900">
              <a:buSzPts val="1000"/>
              <a:buFont typeface="Arial MT"/>
              <a:buChar char="•"/>
              <a:tabLst>
                <a:tab pos="236220" algn="l"/>
                <a:tab pos="236855" algn="l"/>
              </a:tabLst>
            </a:pPr>
            <a:r>
              <a:rPr lang="en-US" dirty="0">
                <a:effectLst/>
                <a:latin typeface="Verdana" panose="020B0604030504040204" pitchFamily="34" charset="0"/>
                <a:ea typeface="Arial MT"/>
                <a:cs typeface="Arial MT"/>
              </a:rPr>
              <a:t>MEAN(Mongo,</a:t>
            </a:r>
            <a:r>
              <a:rPr lang="en-US" spc="5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Arial MT"/>
                <a:cs typeface="Arial MT"/>
              </a:rPr>
              <a:t>Express,</a:t>
            </a:r>
            <a:r>
              <a:rPr lang="en-US" spc="10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Arial MT"/>
                <a:cs typeface="Arial MT"/>
              </a:rPr>
              <a:t>Angular,</a:t>
            </a:r>
            <a:r>
              <a:rPr lang="en-US" spc="-40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Arial MT"/>
                <a:cs typeface="Arial MT"/>
              </a:rPr>
              <a:t>NodeJS)</a:t>
            </a:r>
            <a:endParaRPr lang="en-IN" dirty="0">
              <a:effectLst/>
              <a:latin typeface="Verdana" panose="020B0604030504040204" pitchFamily="34" charset="0"/>
              <a:ea typeface="Arial MT"/>
              <a:cs typeface="Arial MT"/>
            </a:endParaRPr>
          </a:p>
          <a:p>
            <a:pPr>
              <a:spcBef>
                <a:spcPts val="50"/>
              </a:spcBef>
            </a:pPr>
            <a:r>
              <a:rPr lang="en-US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 </a:t>
            </a:r>
            <a:endParaRPr lang="en-IN" dirty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marR="161925" lvl="0" indent="-342900">
              <a:lnSpc>
                <a:spcPct val="111000"/>
              </a:lnSpc>
              <a:buSzPts val="1000"/>
              <a:buFont typeface="Arial MT"/>
              <a:buChar char="•"/>
              <a:tabLst>
                <a:tab pos="236220" algn="l"/>
                <a:tab pos="236855" algn="l"/>
              </a:tabLst>
            </a:pPr>
            <a:r>
              <a:rPr lang="en-US" dirty="0">
                <a:effectLst/>
                <a:latin typeface="Verdana" panose="020B0604030504040204" pitchFamily="34" charset="0"/>
                <a:ea typeface="Arial MT"/>
                <a:cs typeface="Arial MT"/>
              </a:rPr>
              <a:t>Proficient in creating </a:t>
            </a:r>
            <a:r>
              <a:rPr lang="en-US" b="1" dirty="0">
                <a:effectLst/>
                <a:latin typeface="Verdana" panose="020B0604030504040204" pitchFamily="34" charset="0"/>
                <a:ea typeface="Arial MT"/>
                <a:cs typeface="Arial MT"/>
              </a:rPr>
              <a:t>Single page Web </a:t>
            </a:r>
            <a:r>
              <a:rPr lang="en-US" dirty="0">
                <a:effectLst/>
                <a:latin typeface="Verdana" panose="020B0604030504040204" pitchFamily="34" charset="0"/>
                <a:ea typeface="Arial MT"/>
                <a:cs typeface="Arial MT"/>
              </a:rPr>
              <a:t>Application in</a:t>
            </a:r>
            <a:r>
              <a:rPr lang="en-US" spc="5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b="1" dirty="0">
                <a:effectLst/>
                <a:latin typeface="Verdana" panose="020B0604030504040204" pitchFamily="34" charset="0"/>
                <a:ea typeface="Arial MT"/>
                <a:cs typeface="Arial MT"/>
              </a:rPr>
              <a:t>Angular </a:t>
            </a:r>
            <a:r>
              <a:rPr lang="en-US" dirty="0">
                <a:effectLst/>
                <a:latin typeface="Verdana" panose="020B0604030504040204" pitchFamily="34" charset="0"/>
                <a:ea typeface="Arial MT"/>
                <a:cs typeface="Arial MT"/>
              </a:rPr>
              <a:t>with Authentication with route guards, Angular</a:t>
            </a:r>
            <a:r>
              <a:rPr lang="en-US" spc="-340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Arial MT"/>
                <a:cs typeface="Arial MT"/>
              </a:rPr>
              <a:t>reactive</a:t>
            </a:r>
            <a:r>
              <a:rPr lang="en-US" spc="20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Arial MT"/>
                <a:cs typeface="Arial MT"/>
              </a:rPr>
              <a:t>forms,</a:t>
            </a:r>
            <a:r>
              <a:rPr lang="en-US" spc="20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Arial MT"/>
                <a:cs typeface="Arial MT"/>
              </a:rPr>
              <a:t>angular</a:t>
            </a:r>
            <a:r>
              <a:rPr lang="en-US" spc="-20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Arial MT"/>
                <a:cs typeface="Arial MT"/>
              </a:rPr>
              <a:t>routing,</a:t>
            </a:r>
            <a:r>
              <a:rPr lang="en-US" spc="10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Arial MT"/>
                <a:cs typeface="Arial MT"/>
              </a:rPr>
              <a:t>Tailwind</a:t>
            </a:r>
            <a:r>
              <a:rPr lang="en-US" spc="-25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Arial MT"/>
                <a:cs typeface="Arial MT"/>
              </a:rPr>
              <a:t>CSS</a:t>
            </a:r>
            <a:endParaRPr lang="en-IN" dirty="0">
              <a:effectLst/>
              <a:latin typeface="Verdana" panose="020B0604030504040204" pitchFamily="34" charset="0"/>
              <a:ea typeface="Arial MT"/>
              <a:cs typeface="Arial MT"/>
            </a:endParaRPr>
          </a:p>
          <a:p>
            <a:pPr marL="342900" lvl="0" indent="-342900">
              <a:spcBef>
                <a:spcPts val="1015"/>
              </a:spcBef>
              <a:buSzPts val="1000"/>
              <a:buFont typeface="Arial MT"/>
              <a:buChar char="•"/>
              <a:tabLst>
                <a:tab pos="236220" algn="l"/>
                <a:tab pos="236855" algn="l"/>
              </a:tabLst>
            </a:pPr>
            <a:r>
              <a:rPr lang="en-US" dirty="0">
                <a:effectLst/>
                <a:latin typeface="Verdana" panose="020B0604030504040204" pitchFamily="34" charset="0"/>
                <a:ea typeface="Arial MT"/>
                <a:cs typeface="Arial MT"/>
              </a:rPr>
              <a:t>Hands</a:t>
            </a:r>
            <a:r>
              <a:rPr lang="en-US" spc="-5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Arial MT"/>
                <a:cs typeface="Arial MT"/>
              </a:rPr>
              <a:t>on</a:t>
            </a:r>
            <a:r>
              <a:rPr lang="en-US" spc="-5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Arial MT"/>
                <a:cs typeface="Arial MT"/>
              </a:rPr>
              <a:t>experience</a:t>
            </a:r>
            <a:r>
              <a:rPr lang="en-US" spc="10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Arial MT"/>
                <a:cs typeface="Arial MT"/>
              </a:rPr>
              <a:t>in</a:t>
            </a:r>
            <a:r>
              <a:rPr lang="en-US" spc="-15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Arial MT"/>
                <a:cs typeface="Arial MT"/>
              </a:rPr>
              <a:t>implementing</a:t>
            </a:r>
            <a:r>
              <a:rPr lang="en-US" spc="-5" dirty="0">
                <a:effectLst/>
                <a:latin typeface="Verdana" panose="020B0604030504040204" pitchFamily="34" charset="0"/>
                <a:ea typeface="Arial MT"/>
                <a:cs typeface="Arial MT"/>
              </a:rPr>
              <a:t> </a:t>
            </a:r>
            <a:r>
              <a:rPr lang="en-US" b="1" dirty="0">
                <a:effectLst/>
                <a:latin typeface="Verdana" panose="020B0604030504040204" pitchFamily="34" charset="0"/>
                <a:ea typeface="Arial MT"/>
                <a:cs typeface="Arial MT"/>
              </a:rPr>
              <a:t>Nodemailer</a:t>
            </a:r>
            <a:endParaRPr lang="en-IN" dirty="0">
              <a:effectLst/>
              <a:latin typeface="Verdana" panose="020B0604030504040204" pitchFamily="34" charset="0"/>
              <a:ea typeface="Arial MT"/>
              <a:cs typeface="Arial MT"/>
            </a:endParaRPr>
          </a:p>
          <a:p>
            <a:pPr marL="236220">
              <a:spcBef>
                <a:spcPts val="150"/>
              </a:spcBef>
            </a:pPr>
            <a:r>
              <a:rPr lang="en-US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architecture</a:t>
            </a:r>
            <a:r>
              <a:rPr lang="en-US" b="1" spc="-2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b="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ith</a:t>
            </a:r>
            <a:r>
              <a:rPr lang="en-US" b="0" spc="-4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deJs.</a:t>
            </a:r>
          </a:p>
          <a:p>
            <a:pPr marL="236220">
              <a:spcBef>
                <a:spcPts val="150"/>
              </a:spcBef>
            </a:pPr>
            <a:endParaRPr lang="en-IN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36220">
              <a:spcBef>
                <a:spcPts val="150"/>
              </a:spcBef>
            </a:pPr>
            <a:r>
              <a:rPr lang="en-US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plemented</a:t>
            </a:r>
            <a:r>
              <a:rPr lang="en-US" spc="1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avascript,</a:t>
            </a:r>
            <a:r>
              <a:rPr lang="en-US" b="1" spc="-2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dejs</a:t>
            </a:r>
            <a:r>
              <a:rPr lang="en-US" b="1" spc="-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d</a:t>
            </a:r>
            <a:r>
              <a:rPr lang="en-US" spc="-3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pressJs</a:t>
            </a:r>
            <a:r>
              <a:rPr lang="en-US" b="1" spc="-1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</a:t>
            </a:r>
            <a:r>
              <a:rPr lang="en-US" spc="-4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se</a:t>
            </a:r>
          </a:p>
          <a:p>
            <a:pPr marL="236220">
              <a:spcBef>
                <a:spcPts val="150"/>
              </a:spcBef>
            </a:pPr>
            <a:r>
              <a:rPr lang="en-US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udy and</a:t>
            </a:r>
            <a:r>
              <a:rPr lang="en-US" spc="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pskilling</a:t>
            </a:r>
            <a:r>
              <a:rPr lang="en-US" spc="-2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y</a:t>
            </a:r>
            <a:r>
              <a:rPr lang="en-US" spc="-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nowledge</a:t>
            </a:r>
            <a:r>
              <a:rPr lang="en-US" spc="1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inuously.</a:t>
            </a:r>
            <a:r>
              <a:rPr lang="en-US" spc="-34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br>
              <a:rPr lang="en-US" altLang="nl-NL" dirty="0"/>
            </a:br>
            <a:r>
              <a:rPr lang="en-US" altLang="nl-NL" dirty="0"/>
              <a:t> </a:t>
            </a:r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5925" y="596900"/>
            <a:ext cx="2717800" cy="610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Bachelor of Engineering 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Computer science and engineering: 2017 - 2021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nl-NL" sz="1200" b="1" dirty="0">
                <a:solidFill>
                  <a:srgbClr val="0070AD"/>
                </a:solidFill>
              </a:rPr>
              <a:t>Skills</a:t>
            </a:r>
          </a:p>
          <a:p>
            <a:pPr>
              <a:lnSpc>
                <a:spcPct val="114000"/>
              </a:lnSpc>
            </a:pPr>
            <a:r>
              <a:rPr lang="en-US" sz="105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avascri</a:t>
            </a:r>
            <a:r>
              <a:rPr lang="en-US" sz="1050" dirty="0">
                <a:ea typeface="Verdana" panose="020B0604030504040204" pitchFamily="34" charset="0"/>
                <a:cs typeface="Verdana" panose="020B0604030504040204" pitchFamily="34" charset="0"/>
              </a:rPr>
              <a:t>pt basics</a:t>
            </a:r>
            <a:endParaRPr lang="en-IN" sz="1050" dirty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sz="1050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act</a:t>
            </a:r>
            <a:r>
              <a:rPr lang="en-US" sz="105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Components, Hooks, Event</a:t>
            </a:r>
            <a:r>
              <a:rPr lang="en-US" sz="1050" spc="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05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andling, Redux, Reducers,</a:t>
            </a:r>
            <a:r>
              <a:rPr lang="en-US" sz="1050" spc="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05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sting</a:t>
            </a:r>
            <a:r>
              <a:rPr lang="en-US" sz="1050" spc="-1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05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ing</a:t>
            </a:r>
            <a:r>
              <a:rPr lang="en-US" sz="1050" spc="-1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05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asmin</a:t>
            </a:r>
            <a:r>
              <a:rPr lang="en-US" sz="1050" spc="-2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05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amp;</a:t>
            </a:r>
            <a:r>
              <a:rPr lang="en-US" sz="1050" spc="1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05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arma</a:t>
            </a:r>
            <a:endParaRPr lang="en-US" altLang="nl-NL" sz="105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sz="1050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gular  </a:t>
            </a:r>
            <a:r>
              <a:rPr lang="en-US" sz="105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onents, Services,</a:t>
            </a:r>
            <a:r>
              <a:rPr lang="en-US" sz="1050" spc="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05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dules, Routing, Forms &amp;</a:t>
            </a:r>
            <a:r>
              <a:rPr lang="en-US" sz="1050" spc="-35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05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alidation, Testing using</a:t>
            </a:r>
            <a:r>
              <a:rPr lang="en-US" sz="1050" spc="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05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asmine</a:t>
            </a:r>
            <a:r>
              <a:rPr lang="en-US" sz="1050" spc="-4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05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amp;</a:t>
            </a:r>
            <a:r>
              <a:rPr lang="en-US" sz="1050" spc="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05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arma</a:t>
            </a:r>
            <a:endParaRPr lang="en-US" altLang="nl-NL" sz="1050" b="1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sz="1050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base </a:t>
            </a:r>
            <a:r>
              <a:rPr lang="en-US" sz="105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ngoDB</a:t>
            </a:r>
            <a:r>
              <a:rPr lang="en-US" sz="1050" dirty="0"/>
              <a:t>  </a:t>
            </a:r>
          </a:p>
          <a:p>
            <a:pPr eaLnBrk="1" hangingPunct="1">
              <a:lnSpc>
                <a:spcPct val="114000"/>
              </a:lnSpc>
            </a:pPr>
            <a:r>
              <a:rPr lang="en-US" sz="1050" dirty="0"/>
              <a:t>                     </a:t>
            </a:r>
          </a:p>
          <a:p>
            <a:pPr eaLnBrk="1" hangingPunct="1">
              <a:lnSpc>
                <a:spcPct val="114000"/>
              </a:lnSpc>
            </a:pPr>
            <a:r>
              <a:rPr lang="en-US" sz="1050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I</a:t>
            </a:r>
            <a:r>
              <a:rPr lang="en-US" sz="1050" b="1" spc="-1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050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  </a:t>
            </a:r>
            <a:endParaRPr lang="en-US" sz="1050" b="1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sz="105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HTML5</a:t>
            </a:r>
          </a:p>
          <a:p>
            <a:pPr eaLnBrk="1" hangingPunct="1">
              <a:lnSpc>
                <a:spcPct val="114000"/>
              </a:lnSpc>
            </a:pPr>
            <a:r>
              <a:rPr lang="en-US" sz="1050" dirty="0">
                <a:ea typeface="Verdana" panose="020B0604030504040204" pitchFamily="34" charset="0"/>
                <a:cs typeface="Verdana" panose="020B0604030504040204" pitchFamily="34" charset="0"/>
              </a:rPr>
              <a:t> CSS3</a:t>
            </a:r>
          </a:p>
          <a:p>
            <a:pPr eaLnBrk="1" hangingPunct="1">
              <a:lnSpc>
                <a:spcPct val="114000"/>
              </a:lnSpc>
            </a:pPr>
            <a:r>
              <a:rPr lang="en-US" sz="1050" dirty="0">
                <a:ea typeface="Verdana" panose="020B0604030504040204" pitchFamily="34" charset="0"/>
                <a:cs typeface="Verdana" panose="020B0604030504040204" pitchFamily="34" charset="0"/>
              </a:rPr>
              <a:t> Javascrip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50" b="1" dirty="0">
              <a:ea typeface="Verdana" panose="020B060403050404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sz="1050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ols  </a:t>
            </a:r>
            <a:r>
              <a:rPr lang="en-US" sz="105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itHub , Postma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50" dirty="0">
              <a:ea typeface="Verdana" panose="020B060403050404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sz="1050" b="1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loud</a:t>
            </a:r>
            <a:r>
              <a:rPr lang="en-US" sz="1050" b="1" spc="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IN" sz="1050" b="1" spc="5" dirty="0">
                <a:solidFill>
                  <a:srgbClr val="0070AD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</a:t>
            </a:r>
            <a:r>
              <a:rPr lang="en-IN" sz="1050" b="1" dirty="0">
                <a:solidFill>
                  <a:srgbClr val="0070AD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chnologies   </a:t>
            </a:r>
            <a:r>
              <a:rPr lang="en-US" sz="105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azon</a:t>
            </a:r>
            <a:r>
              <a:rPr lang="en-US" sz="1050" spc="-3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05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b</a:t>
            </a:r>
            <a:r>
              <a:rPr lang="en-US" sz="1050" spc="1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05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rvice</a:t>
            </a:r>
            <a:endParaRPr lang="en-US" altLang="nl-NL" sz="1050" b="1" dirty="0"/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sz="105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munications, Team</a:t>
            </a:r>
            <a:r>
              <a:rPr lang="en-US" sz="1050" spc="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05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nagement.</a:t>
            </a:r>
            <a:r>
              <a:rPr lang="en-US" sz="1050" spc="-25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05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er</a:t>
            </a:r>
            <a:r>
              <a:rPr lang="en-US" sz="1050" spc="1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05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arning</a:t>
            </a:r>
            <a:endParaRPr lang="en-US" altLang="nl-NL" sz="105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pic>
        <p:nvPicPr>
          <p:cNvPr id="7182" name="Picture 4" descr="Free icon download | Linkedin">
            <a:extLst>
              <a:ext uri="{FF2B5EF4-FFF2-40B4-BE49-F238E27FC236}">
                <a16:creationId xmlns:a16="http://schemas.microsoft.com/office/drawing/2014/main" id="{89622B52-B834-40D0-9BA5-24EF14F2A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5550" y="1608138"/>
            <a:ext cx="325438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74988" y="1989138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>
                <a:solidFill>
                  <a:schemeClr val="bg1"/>
                </a:solidFill>
              </a:rPr>
              <a:t>A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7AB945-2607-4152-8968-1106A61DF87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en-IN" dirty="0"/>
              <a:t>Ajay </a:t>
            </a:r>
            <a:r>
              <a:rPr lang="en-IN" dirty="0" err="1"/>
              <a:t>kumar</a:t>
            </a:r>
            <a:r>
              <a:rPr lang="en-IN" dirty="0"/>
              <a:t> G</a:t>
            </a:r>
          </a:p>
        </p:txBody>
      </p:sp>
      <p:pic>
        <p:nvPicPr>
          <p:cNvPr id="7" name="Picture Placeholder 6" descr="A person with a mustache and glasses&#10;&#10;Description automatically generated with low confidence">
            <a:extLst>
              <a:ext uri="{FF2B5EF4-FFF2-40B4-BE49-F238E27FC236}">
                <a16:creationId xmlns:a16="http://schemas.microsoft.com/office/drawing/2014/main" id="{094CB773-AE71-4CC3-901E-3EF0B81B2A35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9" b="2539"/>
          <a:stretch>
            <a:fillRect/>
          </a:stretch>
        </p:blipFill>
        <p:spPr/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2EFE742-3A8E-4E5A-B843-9354826E5980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fd33c62d-2c11-46e7-88a2-e90fa986d9d0"/>
    <ds:schemaRef ds:uri="http://schemas.microsoft.com/office/infopath/2007/PartnerControls"/>
    <ds:schemaRef ds:uri="47da6acf-edf2-43bc-9595-f721a214a14e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6143</TotalTime>
  <Words>262</Words>
  <Application>Microsoft Office PowerPoint</Application>
  <PresentationFormat>Widescreen</PresentationFormat>
  <Paragraphs>7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Arial MT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Ajay Kumar, Gonuguntla</cp:lastModifiedBy>
  <cp:revision>110</cp:revision>
  <dcterms:created xsi:type="dcterms:W3CDTF">2017-12-08T05:27:40Z</dcterms:created>
  <dcterms:modified xsi:type="dcterms:W3CDTF">2023-01-04T05:06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